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6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58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38FD1F4-8F0C-43AA-9747-E78CD170DAFF}"/>
    <pc:docChg chg="delSld">
      <pc:chgData name="Meyer Raphael (PAR-ES)" userId="79615dfe-ed48-4e74-a40f-4f7b034c1c27" providerId="ADAL" clId="{E38FD1F4-8F0C-43AA-9747-E78CD170DAFF}" dt="2022-03-09T15:50:13.205" v="1" actId="47"/>
      <pc:docMkLst>
        <pc:docMk/>
      </pc:docMkLst>
      <pc:sldChg chg="del">
        <pc:chgData name="Meyer Raphael (PAR-ES)" userId="79615dfe-ed48-4e74-a40f-4f7b034c1c27" providerId="ADAL" clId="{E38FD1F4-8F0C-43AA-9747-E78CD170DAFF}" dt="2022-03-09T15:50:02.554" v="0" actId="47"/>
        <pc:sldMkLst>
          <pc:docMk/>
          <pc:sldMk cId="1774855510" sldId="414"/>
        </pc:sldMkLst>
      </pc:sldChg>
      <pc:sldChg chg="del">
        <pc:chgData name="Meyer Raphael (PAR-ES)" userId="79615dfe-ed48-4e74-a40f-4f7b034c1c27" providerId="ADAL" clId="{E38FD1F4-8F0C-43AA-9747-E78CD170DAFF}" dt="2022-03-09T15:50:02.554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E38FD1F4-8F0C-43AA-9747-E78CD170DAFF}" dt="2022-03-09T15:50:13.205" v="1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39C7873F-D5F1-4AE0-BF7F-EC60E8D7DE79}"/>
    <pc:docChg chg="modSld">
      <pc:chgData name="Weigel Stefan (PAR-EPS)" userId="fd3b2067-2981-4ad8-bf3a-d2e1004e4fa8" providerId="ADAL" clId="{39C7873F-D5F1-4AE0-BF7F-EC60E8D7DE79}" dt="2025-02-24T10:53:37.434" v="3" actId="790"/>
      <pc:docMkLst>
        <pc:docMk/>
      </pc:docMkLst>
      <pc:sldChg chg="modSp mod">
        <pc:chgData name="Weigel Stefan (PAR-EPS)" userId="fd3b2067-2981-4ad8-bf3a-d2e1004e4fa8" providerId="ADAL" clId="{39C7873F-D5F1-4AE0-BF7F-EC60E8D7DE79}" dt="2025-02-24T10:53:37.434" v="3" actId="790"/>
        <pc:sldMkLst>
          <pc:docMk/>
          <pc:sldMk cId="2251798312" sldId="416"/>
        </pc:sldMkLst>
        <pc:spChg chg="mod">
          <ac:chgData name="Weigel Stefan (PAR-EPS)" userId="fd3b2067-2981-4ad8-bf3a-d2e1004e4fa8" providerId="ADAL" clId="{39C7873F-D5F1-4AE0-BF7F-EC60E8D7DE79}" dt="2025-02-24T10:53:37.434" v="3" actId="790"/>
          <ac:spMkLst>
            <pc:docMk/>
            <pc:sldMk cId="2251798312" sldId="416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80400F18-53E8-4987-A745-99605E1C556B}"/>
    <pc:docChg chg="modSld">
      <pc:chgData name="Weigel Stefan (PAR-EPS)" userId="fd3b2067-2981-4ad8-bf3a-d2e1004e4fa8" providerId="ADAL" clId="{80400F18-53E8-4987-A745-99605E1C556B}" dt="2024-04-26T06:33:09.782" v="67" actId="208"/>
      <pc:docMkLst>
        <pc:docMk/>
      </pc:docMkLst>
      <pc:sldChg chg="modSp mod">
        <pc:chgData name="Weigel Stefan (PAR-EPS)" userId="fd3b2067-2981-4ad8-bf3a-d2e1004e4fa8" providerId="ADAL" clId="{80400F18-53E8-4987-A745-99605E1C556B}" dt="2024-04-26T06:33:09.782" v="67" actId="208"/>
        <pc:sldMkLst>
          <pc:docMk/>
          <pc:sldMk cId="2251798312" sldId="416"/>
        </pc:sldMkLst>
        <pc:spChg chg="mod">
          <ac:chgData name="Weigel Stefan (PAR-EPS)" userId="fd3b2067-2981-4ad8-bf3a-d2e1004e4fa8" providerId="ADAL" clId="{80400F18-53E8-4987-A745-99605E1C556B}" dt="2024-04-26T06:29:26.149" v="60" actId="103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Weigel Stefan (PAR-EPS)" userId="fd3b2067-2981-4ad8-bf3a-d2e1004e4fa8" providerId="ADAL" clId="{80400F18-53E8-4987-A745-99605E1C556B}" dt="2024-04-26T06:33:09.782" v="67" actId="208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C4337071-8AED-4D33-A3AC-E01C3E7D988F}"/>
    <pc:docChg chg="custSel modSld">
      <pc:chgData name="Weigel Stefan (PAR-EPS)" userId="fd3b2067-2981-4ad8-bf3a-d2e1004e4fa8" providerId="ADAL" clId="{C4337071-8AED-4D33-A3AC-E01C3E7D988F}" dt="2024-02-02T10:55:42.847" v="18" actId="27918"/>
      <pc:docMkLst>
        <pc:docMk/>
      </pc:docMkLst>
      <pc:sldChg chg="modSp mod">
        <pc:chgData name="Weigel Stefan (PAR-EPS)" userId="fd3b2067-2981-4ad8-bf3a-d2e1004e4fa8" providerId="ADAL" clId="{C4337071-8AED-4D33-A3AC-E01C3E7D988F}" dt="2024-02-02T10:55:42.847" v="18" actId="27918"/>
        <pc:sldMkLst>
          <pc:docMk/>
          <pc:sldMk cId="2251798312" sldId="416"/>
        </pc:sldMkLst>
        <pc:spChg chg="mod">
          <ac:chgData name="Weigel Stefan (PAR-EPS)" userId="fd3b2067-2981-4ad8-bf3a-d2e1004e4fa8" providerId="ADAL" clId="{C4337071-8AED-4D33-A3AC-E01C3E7D988F}" dt="2024-02-02T10:52:37.547" v="15" actId="20577"/>
          <ac:spMkLst>
            <pc:docMk/>
            <pc:sldMk cId="2251798312" sldId="416"/>
            <ac:spMk id="7" creationId="{997E4419-A7A8-4264-97B0-3A44B665821E}"/>
          </ac:spMkLst>
        </pc:sp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CAD2B611-C694-4902-9D90-88E004349EC6}"/>
    <pc:docChg chg="modSld">
      <pc:chgData name="Meyer Raphael (PAR-ES)" userId="79615dfe-ed48-4e74-a40f-4f7b034c1c27" providerId="ADAL" clId="{CAD2B611-C694-4902-9D90-88E004349EC6}" dt="2023-02-24T13:54:49.023" v="3" actId="27918"/>
      <pc:docMkLst>
        <pc:docMk/>
      </pc:docMkLst>
      <pc:sldChg chg="mod">
        <pc:chgData name="Meyer Raphael (PAR-ES)" userId="79615dfe-ed48-4e74-a40f-4f7b034c1c27" providerId="ADAL" clId="{CAD2B611-C694-4902-9D90-88E004349EC6}" dt="2023-02-24T13:54:49.023" v="3" actId="27918"/>
        <pc:sldMkLst>
          <pc:docMk/>
          <pc:sldMk cId="2251798312" sldId="416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Abonnements généraux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2630-4479-9F8E-BA646FF15BA8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45277399999999995</c:v>
                </c:pt>
                <c:pt idx="1">
                  <c:v>0.46013499999999996</c:v>
                </c:pt>
                <c:pt idx="2">
                  <c:v>0.47218299999999996</c:v>
                </c:pt>
                <c:pt idx="3">
                  <c:v>0.48016999999999999</c:v>
                </c:pt>
                <c:pt idx="4">
                  <c:v>0.490205</c:v>
                </c:pt>
                <c:pt idx="5">
                  <c:v>0.49952999999999997</c:v>
                </c:pt>
                <c:pt idx="6">
                  <c:v>0.43870999999999999</c:v>
                </c:pt>
                <c:pt idx="7">
                  <c:v>0.40637099999999998</c:v>
                </c:pt>
                <c:pt idx="8">
                  <c:v>0.43076799999999998</c:v>
                </c:pt>
                <c:pt idx="9">
                  <c:v>0.44716599999999995</c:v>
                </c:pt>
                <c:pt idx="10">
                  <c:v>0.424864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Abonnements demi-tarif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2630-4479-9F8E-BA646FF15BA8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2.343696</c:v>
                </c:pt>
                <c:pt idx="1">
                  <c:v>2.3324039999999999</c:v>
                </c:pt>
                <c:pt idx="2">
                  <c:v>2.3949219999999998</c:v>
                </c:pt>
                <c:pt idx="3">
                  <c:v>2.5310319999999997</c:v>
                </c:pt>
                <c:pt idx="4">
                  <c:v>2.597655</c:v>
                </c:pt>
                <c:pt idx="5">
                  <c:v>2.7219449999999998</c:v>
                </c:pt>
                <c:pt idx="6">
                  <c:v>2.720812</c:v>
                </c:pt>
                <c:pt idx="7">
                  <c:v>2.828964</c:v>
                </c:pt>
                <c:pt idx="8">
                  <c:v>2.9686149999999998</c:v>
                </c:pt>
                <c:pt idx="9">
                  <c:v>3.1466789999999998</c:v>
                </c:pt>
                <c:pt idx="10">
                  <c:v>3.3382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4297094364984851E-2"/>
          <c:y val="0.82582619369142318"/>
          <c:w val="0.44279511413290545"/>
          <c:h val="5.472318412195201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20208</cdr:x>
      <cdr:y>0.0658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50578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Millions</a:t>
          </a:r>
          <a:r>
            <a:rPr lang="de-CH" sz="1100" dirty="0">
              <a:solidFill>
                <a:schemeClr val="tx2"/>
              </a:solidFill>
              <a:cs typeface="Arial" pitchFamily="34" charset="0"/>
            </a:rPr>
            <a:t> </a:t>
          </a:r>
          <a:r>
            <a:rPr lang="de-CH" sz="1100" dirty="0" err="1">
              <a:solidFill>
                <a:schemeClr val="tx2"/>
              </a:solidFill>
              <a:cs typeface="Arial" pitchFamily="34" charset="0"/>
            </a:rPr>
            <a:t>d’abonnements</a:t>
          </a:r>
          <a:endParaRPr lang="de-CH" sz="1100" dirty="0">
            <a:solidFill>
              <a:schemeClr val="tx2"/>
            </a:solidFill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38160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/>
              <a:t>Clients régulier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933088957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bonnements généraux et abonnements demi-tarif du Service direct Suisse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41795" y="557729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100" kern="0" spc="0" dirty="0" err="1">
                <a:solidFill>
                  <a:srgbClr val="444444"/>
                </a:solidFill>
                <a:latin typeface="SBB Light"/>
              </a:rPr>
              <a:t>sbb</a:t>
            </a: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2251798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2f5c8543-cf23-4718-a3b8-32b0a91d511a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96e82a89-ba48-4728-b345-cf206dbec8f1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9764730-EA10-4A46-B001-19B6FADB3D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lients régulier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s réguliers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